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56" r:id="rId5"/>
    <p:sldId id="257" r:id="rId6"/>
    <p:sldId id="285" r:id="rId7"/>
    <p:sldId id="286" r:id="rId8"/>
    <p:sldId id="287" r:id="rId9"/>
    <p:sldId id="288" r:id="rId10"/>
    <p:sldId id="289" r:id="rId11"/>
    <p:sldId id="290" r:id="rId12"/>
    <p:sldId id="291" r:id="rId13"/>
    <p:sldId id="292" r:id="rId14"/>
    <p:sldId id="297" r:id="rId15"/>
    <p:sldId id="296" r:id="rId16"/>
    <p:sldId id="295" r:id="rId17"/>
    <p:sldId id="294" r:id="rId18"/>
    <p:sldId id="293" r:id="rId19"/>
    <p:sldId id="300" r:id="rId20"/>
    <p:sldId id="299" r:id="rId21"/>
    <p:sldId id="301" r:id="rId22"/>
    <p:sldId id="298" r:id="rId23"/>
    <p:sldId id="307" r:id="rId24"/>
    <p:sldId id="303" r:id="rId25"/>
    <p:sldId id="306" r:id="rId26"/>
    <p:sldId id="305" r:id="rId27"/>
    <p:sldId id="304" r:id="rId28"/>
    <p:sldId id="310" r:id="rId29"/>
    <p:sldId id="309" r:id="rId30"/>
    <p:sldId id="308" r:id="rId31"/>
    <p:sldId id="284" r:id="rId3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38EE741-9AC1-4F31-AE73-80ED69E48318}" v="3" dt="2024-07-30T08:53:45.00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82" d="100"/>
          <a:sy n="82" d="100"/>
        </p:scale>
        <p:origin x="72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5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Relationship Id="rId14" Type="http://schemas.openxmlformats.org/officeDocument/2006/relationships/image" Target="../media/image10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831334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218538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142514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4470753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BA9AD6EA-2DF8-5939-A506-F16ED13A9C1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42063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19A30-0576-2545-8734-9B03AF70B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5BC24487-9FB9-A0A9-4AE2-22B5874BD39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397413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1F45F7-077C-499A-8055-91596D906C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52F332D-3CDC-4D8E-AD43-52559783D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1AA2DA-8D81-486B-A333-D1BC8D8F71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0803EA-7A94-4882-A808-A9D283A70C8C}" type="datetimeFigureOut">
              <a:rPr lang="en-IN" smtClean="0"/>
              <a:t>30-07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D47D43-8D93-4BE1-8F2D-B5D8C344D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C2BC95-0468-4C4D-A96E-725682014F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7022E3-7B7B-4DC1-931E-C9E2C54B9D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440557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959190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981303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-2" y="0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785191" y="6520168"/>
            <a:ext cx="9730409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E01359E6-7FF4-DDDA-82C4-706E0CE1E15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020426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201882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55010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83158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248139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529038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12051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54ECBEC1-3E77-4D6F-AD5D-32323685D6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2334" y="4544698"/>
            <a:ext cx="6259003" cy="1217769"/>
          </a:xfrm>
        </p:spPr>
        <p:txBody>
          <a:bodyPr/>
          <a:lstStyle/>
          <a:p>
            <a:r>
              <a:rPr lang="en-US" sz="2400" b="1" dirty="0">
                <a:solidFill>
                  <a:srgbClr val="00B050"/>
                </a:solidFill>
                <a:latin typeface="Barlow" pitchFamily="34" charset="0"/>
                <a:ea typeface="Barlow" pitchFamily="34" charset="-122"/>
                <a:cs typeface="Barlow" pitchFamily="34" charset="-120"/>
              </a:rPr>
              <a:t>An Overview of Core Concepts and Components</a:t>
            </a:r>
            <a:endParaRPr lang="en-US" sz="2400" dirty="0">
              <a:solidFill>
                <a:srgbClr val="00B050"/>
              </a:solidFill>
            </a:endParaRPr>
          </a:p>
          <a:p>
            <a:endParaRPr lang="en-IN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901448B-4337-4854-ACDF-BAADACCDC8E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9615" y="3716073"/>
            <a:ext cx="10525125" cy="701731"/>
          </a:xfrm>
        </p:spPr>
        <p:txBody>
          <a:bodyPr/>
          <a:lstStyle/>
          <a:p>
            <a:r>
              <a:rPr lang="en-US" sz="4400" b="1" dirty="0">
                <a:solidFill>
                  <a:srgbClr val="7068F4"/>
                </a:solidFill>
                <a:latin typeface="Barlow" pitchFamily="34" charset="0"/>
                <a:ea typeface="Barlow" pitchFamily="34" charset="-122"/>
                <a:cs typeface="Barlow" pitchFamily="34" charset="-120"/>
              </a:rPr>
              <a:t>Fundamentals of infrastructure 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31334907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AC2B1DF-A237-1146-93A9-E224D8071F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133" y="458013"/>
            <a:ext cx="11260279" cy="4692485"/>
          </a:xfrm>
        </p:spPr>
        <p:txBody>
          <a:bodyPr/>
          <a:lstStyle/>
          <a:p>
            <a:r>
              <a:rPr lang="en-US" b="1" dirty="0">
                <a:solidFill>
                  <a:srgbClr val="0070C0"/>
                </a:solidFill>
              </a:rPr>
              <a:t>Traditional Infrastructure</a:t>
            </a:r>
          </a:p>
          <a:p>
            <a:endParaRPr lang="en-US" b="1" dirty="0"/>
          </a:p>
          <a:p>
            <a:r>
              <a:rPr lang="en-US" b="1" dirty="0"/>
              <a:t>Description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Hardware: Physical servers, storage devices, networking equipment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Software: On-premises operating systems, application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Data Centers: Owned and managed by the organization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Key Characteristic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apital Expenditure (</a:t>
            </a:r>
            <a:r>
              <a:rPr lang="en-US" dirty="0" err="1"/>
              <a:t>CapEx</a:t>
            </a:r>
            <a:r>
              <a:rPr lang="en-US" dirty="0"/>
              <a:t>): High initial investment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anagement: In-house management and maintenance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70BC1E-F62F-ADC7-8A14-057DC54B09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357759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DA74F6E-5726-76B2-3017-B55F04A79A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0022" y="504667"/>
            <a:ext cx="11260279" cy="5354957"/>
          </a:xfrm>
        </p:spPr>
        <p:txBody>
          <a:bodyPr/>
          <a:lstStyle/>
          <a:p>
            <a:r>
              <a:rPr lang="en-US" b="1" dirty="0">
                <a:solidFill>
                  <a:srgbClr val="0070C0"/>
                </a:solidFill>
              </a:rPr>
              <a:t>Cloud Infrastructure</a:t>
            </a:r>
          </a:p>
          <a:p>
            <a:endParaRPr lang="en-US" b="1" dirty="0"/>
          </a:p>
          <a:p>
            <a:r>
              <a:rPr lang="en-US" b="1" dirty="0"/>
              <a:t>Description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Services: Hosted off-site by third-party providers (e.g., AWS, Azure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Types: IaaS, PaaS, Saa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Resources: Virtual machines, cloud storage, networking service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Key Characteristic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Operational Expenditure (</a:t>
            </a:r>
            <a:r>
              <a:rPr lang="en-US" dirty="0" err="1"/>
              <a:t>OpEx</a:t>
            </a:r>
            <a:r>
              <a:rPr lang="en-US" dirty="0"/>
              <a:t>): Pay-as-you-go model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anagement: Managed by the cloud provider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0C53E4-8B1A-EA6D-A58C-C99A178334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71556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EEC5A7A-6BB0-10CE-83F1-06262A0016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133" y="207027"/>
            <a:ext cx="11260279" cy="5801887"/>
          </a:xfrm>
        </p:spPr>
        <p:txBody>
          <a:bodyPr/>
          <a:lstStyle/>
          <a:p>
            <a:r>
              <a:rPr lang="en-US" b="1" dirty="0">
                <a:solidFill>
                  <a:srgbClr val="0070C0"/>
                </a:solidFill>
              </a:rPr>
              <a:t>Cost Comparison</a:t>
            </a:r>
          </a:p>
          <a:p>
            <a:endParaRPr lang="en-US" b="1" dirty="0"/>
          </a:p>
          <a:p>
            <a:r>
              <a:rPr lang="en-US" b="1" dirty="0"/>
              <a:t>Traditional Infrastructure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nitial Costs: Hardware, software, and faciliti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Ongoing Costs: Maintenance, upgrades, utilities.</a:t>
            </a:r>
          </a:p>
          <a:p>
            <a:r>
              <a:rPr lang="en-US" b="1" dirty="0"/>
              <a:t>Cloud Infrastructure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nitial Costs: Minimal or zero upfront cost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Ongoing Costs: Usage-based billing, scalable cost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Cost Analysi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Total Cost of Ownership (TCO) for both model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ost-benefit analysis examples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7F0444-FFCF-2D76-0D0B-7DC61962771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052727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D73FC3C-DF56-D492-5E4A-EC754808E0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0390" y="207027"/>
            <a:ext cx="11260279" cy="5811218"/>
          </a:xfrm>
        </p:spPr>
        <p:txBody>
          <a:bodyPr/>
          <a:lstStyle/>
          <a:p>
            <a:r>
              <a:rPr lang="en-US" b="1" dirty="0">
                <a:solidFill>
                  <a:srgbClr val="0070C0"/>
                </a:solidFill>
              </a:rPr>
              <a:t>Scalability and Flexibility</a:t>
            </a:r>
          </a:p>
          <a:p>
            <a:endParaRPr lang="en-US" b="1" dirty="0"/>
          </a:p>
          <a:p>
            <a:r>
              <a:rPr lang="en-US" b="1" dirty="0"/>
              <a:t>Traditional Infrastructure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Scalability: Limited by physical hardware constraint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Flexibility: Changes require significant hardware upgrad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Cloud Infrastructure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Scalability: On-demand scaling based on workload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Flexibility: Easy to adjust resources and services as needed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Use Case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Examples of scenarios where each model excels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505AA4-9E99-B5EB-CA1E-873B0D2EA10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953792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D49D50B-7DB4-BAE0-4E78-09FA0952B0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5860" y="207027"/>
            <a:ext cx="11260279" cy="5867202"/>
          </a:xfrm>
        </p:spPr>
        <p:txBody>
          <a:bodyPr/>
          <a:lstStyle/>
          <a:p>
            <a:r>
              <a:rPr lang="en-US" b="1" dirty="0">
                <a:solidFill>
                  <a:srgbClr val="0070C0"/>
                </a:solidFill>
              </a:rPr>
              <a:t>Performance and Reliability</a:t>
            </a:r>
          </a:p>
          <a:p>
            <a:endParaRPr lang="en-US" b="1" dirty="0"/>
          </a:p>
          <a:p>
            <a:r>
              <a:rPr lang="en-US" b="1" dirty="0"/>
              <a:t>Traditional Infrastructure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erformance: Dependent on in-house hardware and configuration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Reliability: High availability requires additional investments in redundancy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Cloud Infrastructure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erformance: Optimized by cloud providers with global data center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Reliability: Built-in redundancy and high availability option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Metric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Uptime guarantees and SLAs (Service Level Agreements)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B6921E-BCA2-BB06-40E1-67112AF9269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0806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D32FBB4-BE78-77DD-347A-6D7093F20A6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133" y="226502"/>
            <a:ext cx="11260279" cy="5969025"/>
          </a:xfrm>
        </p:spPr>
        <p:txBody>
          <a:bodyPr/>
          <a:lstStyle/>
          <a:p>
            <a:r>
              <a:rPr lang="en-US" b="1" dirty="0">
                <a:solidFill>
                  <a:srgbClr val="0070C0"/>
                </a:solidFill>
              </a:rPr>
              <a:t>Security and Compliance</a:t>
            </a:r>
          </a:p>
          <a:p>
            <a:endParaRPr lang="en-US" b="1" dirty="0"/>
          </a:p>
          <a:p>
            <a:r>
              <a:rPr lang="en-US" b="1" dirty="0"/>
              <a:t>Traditional Infrastructure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ontrol: Full control over security measures and data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ompliance: Requires in-house management of compliance and audit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Cloud Infrastructure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ontrol: Shared responsibility model with cloud provider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ompliance: Providers offer compliance certifications but require understanding of shared responsibilitie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Example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Security measures and compliance certifications for major cloud providers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4D12EB-00E0-DB1A-0B56-F3397A52C38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235967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5427F11-9D45-DF13-3D59-A58AFA8F07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847" y="254494"/>
            <a:ext cx="11260279" cy="5875718"/>
          </a:xfrm>
        </p:spPr>
        <p:txBody>
          <a:bodyPr/>
          <a:lstStyle/>
          <a:p>
            <a:r>
              <a:rPr lang="en-US" b="1" dirty="0">
                <a:solidFill>
                  <a:srgbClr val="0070C0"/>
                </a:solidFill>
              </a:rPr>
              <a:t>Management and Maintenance</a:t>
            </a:r>
          </a:p>
          <a:p>
            <a:endParaRPr lang="en-US" b="1" dirty="0"/>
          </a:p>
          <a:p>
            <a:r>
              <a:rPr lang="en-US" b="1" dirty="0"/>
              <a:t>Traditional Infrastructure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anagement: Requires dedicated IT staff for maintenance and upgrad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omplexity: Higher complexity in managing physical hardware and software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Cloud Infrastructure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anagement: Reduced need for in-house management, provider handles many task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Tools: Access to advanced management and monitoring tools provided by cloud vendor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Best Practice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anagement strategies for both types of infrastructure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2130C0-0414-A102-ACBE-B3F90DFDC1D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572585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F7E72DB-F65C-2D53-B2F4-3DF98F0720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4785790"/>
          </a:xfrm>
        </p:spPr>
        <p:txBody>
          <a:bodyPr/>
          <a:lstStyle/>
          <a:p>
            <a:r>
              <a:rPr lang="en-US" b="1" dirty="0">
                <a:solidFill>
                  <a:srgbClr val="0070C0"/>
                </a:solidFill>
              </a:rPr>
              <a:t>Introduction</a:t>
            </a:r>
          </a:p>
          <a:p>
            <a:endParaRPr lang="en-US" b="1" dirty="0"/>
          </a:p>
          <a:p>
            <a:r>
              <a:rPr lang="en-US" b="1" dirty="0"/>
              <a:t>Overview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Definition of IT Infrastructure Challenges</a:t>
            </a:r>
          </a:p>
          <a:p>
            <a:pPr marL="457200" lvl="1" indent="0">
              <a:buNone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mportance of Infrastructure Resilience</a:t>
            </a:r>
          </a:p>
          <a:p>
            <a:pPr marL="457200" lvl="1" indent="0">
              <a:buNone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Objectives of the Presentation</a:t>
            </a:r>
          </a:p>
          <a:p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B239B4-5AB8-1A65-E0FB-C5659A50F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  <a:effectLst/>
              </a:rPr>
              <a:t>IT Infrastructure Challenges and Resilience</a:t>
            </a:r>
            <a:endParaRPr lang="en-IN" dirty="0">
              <a:solidFill>
                <a:srgbClr val="0070C0"/>
              </a:solidFill>
              <a:effectLst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F17D96-126A-BAD3-DA96-994C326AE1F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7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996213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C358476-83E5-AC03-FF9B-F26EF5B7FA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133" y="366461"/>
            <a:ext cx="11260279" cy="5857057"/>
          </a:xfrm>
        </p:spPr>
        <p:txBody>
          <a:bodyPr/>
          <a:lstStyle/>
          <a:p>
            <a:r>
              <a:rPr lang="en-US" b="1" dirty="0">
                <a:solidFill>
                  <a:srgbClr val="0070C0"/>
                </a:solidFill>
              </a:rPr>
              <a:t>Challenge 1: Scalability Issues</a:t>
            </a:r>
          </a:p>
          <a:p>
            <a:endParaRPr lang="en-US" b="1" dirty="0"/>
          </a:p>
          <a:p>
            <a:r>
              <a:rPr lang="en-US" b="1" dirty="0"/>
              <a:t>Description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Difficulty in expanding infrastructure to meet growing demand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onstraints due to physical hardware and resource limit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Impact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erformance bottleneck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ncreased costs and potential service disruption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Example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ase studies where scalability issues affected performance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10D40E-34BB-E69D-C87A-F368A4AD8C8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187572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4A714F4-642F-6D22-E309-3BDFCF4634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6185" y="226502"/>
            <a:ext cx="11260279" cy="5866388"/>
          </a:xfrm>
        </p:spPr>
        <p:txBody>
          <a:bodyPr/>
          <a:lstStyle/>
          <a:p>
            <a:endParaRPr lang="en-US" b="1" dirty="0"/>
          </a:p>
          <a:p>
            <a:r>
              <a:rPr lang="en-US" b="1" dirty="0">
                <a:solidFill>
                  <a:srgbClr val="0070C0"/>
                </a:solidFill>
              </a:rPr>
              <a:t>Addressing Scalability Issues</a:t>
            </a:r>
          </a:p>
          <a:p>
            <a:endParaRPr lang="en-US" b="1" dirty="0"/>
          </a:p>
          <a:p>
            <a:r>
              <a:rPr lang="en-US" b="1" dirty="0"/>
              <a:t>Strategie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Virtualization</a:t>
            </a:r>
            <a:r>
              <a:rPr lang="en-US" dirty="0"/>
              <a:t>: Use of virtual machines and containers to increase flexibility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Cloud Solutions</a:t>
            </a:r>
            <a:r>
              <a:rPr lang="en-US" dirty="0"/>
              <a:t>: Leveraging cloud services for on-demand scalability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Load Balancing</a:t>
            </a:r>
            <a:r>
              <a:rPr lang="en-US" dirty="0"/>
              <a:t>: Distributing traffic to prevent overload on single resource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Best Practice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lanning for future growth and implementing scalable architecture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26003E-F671-D9AB-D0E9-A89DAC8314D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785155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23060F4-138D-443D-863B-B2E68501BB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2800" b="1" dirty="0">
                <a:solidFill>
                  <a:srgbClr val="7068F4"/>
                </a:solidFill>
                <a:effectLst/>
                <a:latin typeface="Barlow" pitchFamily="34" charset="0"/>
                <a:ea typeface="Barlow" pitchFamily="34" charset="-122"/>
                <a:cs typeface="Barlow" pitchFamily="34" charset="-120"/>
              </a:rPr>
              <a:t>1.Introduction</a:t>
            </a:r>
            <a:br>
              <a:rPr lang="en-US" sz="2800" dirty="0"/>
            </a:b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78F59F-7F70-4D93-A9B7-BB930F8F360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/>
          </a:p>
        </p:txBody>
      </p:sp>
      <p:sp>
        <p:nvSpPr>
          <p:cNvPr id="17" name="Rounded Rectangle 4">
            <a:extLst>
              <a:ext uri="{FF2B5EF4-FFF2-40B4-BE49-F238E27FC236}">
                <a16:creationId xmlns:a16="http://schemas.microsoft.com/office/drawing/2014/main" id="{32605DF5-ED85-4DCC-9353-58089B19C4D2}"/>
              </a:ext>
            </a:extLst>
          </p:cNvPr>
          <p:cNvSpPr/>
          <p:nvPr/>
        </p:nvSpPr>
        <p:spPr>
          <a:xfrm>
            <a:off x="572407" y="1420841"/>
            <a:ext cx="10058870" cy="4642501"/>
          </a:xfrm>
          <a:prstGeom prst="rect">
            <a:avLst/>
          </a:prstGeom>
          <a:noFill/>
          <a:effectLst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0">
            <a:scrgbClr r="0" g="0" b="0"/>
          </a:lnRef>
          <a:fillRef idx="1001">
            <a:schemeClr val="dk1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lIns="91440" tIns="324000" rIns="91440" bIns="72000" numCol="1" spcCol="1270" rtlCol="0" anchorCtr="0">
            <a:normAutofit/>
          </a:bodyPr>
          <a:lstStyle/>
          <a:p>
            <a:r>
              <a:rPr lang="en-US" sz="2800" dirty="0" err="1"/>
              <a:t>pports</a:t>
            </a:r>
            <a:r>
              <a:rPr lang="en-US" sz="2800" dirty="0"/>
              <a:t> the operation of an organization’s IT services and applications.</a:t>
            </a:r>
          </a:p>
          <a:p>
            <a:r>
              <a:rPr lang="en-US" sz="2800" dirty="0"/>
              <a:t>Importance: Ensures reliable, scalable, and efficient operation of technology resources.</a:t>
            </a:r>
          </a:p>
          <a:p>
            <a:r>
              <a:rPr lang="en-US" sz="2800" dirty="0"/>
              <a:t>n that supports the operation of an organization’s IT services and applications.</a:t>
            </a:r>
          </a:p>
          <a:p>
            <a:r>
              <a:rPr lang="en-US" sz="2800" dirty="0"/>
              <a:t>Importance: Ensures reliable, scalable, and efficient operation of technology resources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BF3818C-79B9-9A2C-717E-D56C87DCD0F9}"/>
              </a:ext>
            </a:extLst>
          </p:cNvPr>
          <p:cNvSpPr txBox="1"/>
          <p:nvPr/>
        </p:nvSpPr>
        <p:spPr>
          <a:xfrm>
            <a:off x="821094" y="1191918"/>
            <a:ext cx="8325238" cy="53553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What is IT Infrastructure?</a:t>
            </a:r>
          </a:p>
          <a:p>
            <a:endParaRPr lang="en-US" b="1" dirty="0"/>
          </a:p>
          <a:p>
            <a:r>
              <a:rPr lang="en-US" b="1" dirty="0"/>
              <a:t>Definition: </a:t>
            </a:r>
            <a:r>
              <a:rPr lang="en-US" dirty="0"/>
              <a:t>The underlying foundation that supports the operation of an organization’s IT services and applications.</a:t>
            </a:r>
          </a:p>
          <a:p>
            <a:endParaRPr lang="en-US" dirty="0"/>
          </a:p>
          <a:p>
            <a:r>
              <a:rPr lang="en-US" b="1" dirty="0"/>
              <a:t>Importance:</a:t>
            </a:r>
            <a:r>
              <a:rPr lang="en-US" dirty="0"/>
              <a:t> Ensures reliable, scalable, and efficient operation of technology resources.</a:t>
            </a:r>
          </a:p>
          <a:p>
            <a:endParaRPr lang="en-US" dirty="0"/>
          </a:p>
          <a:p>
            <a:r>
              <a:rPr lang="en-IN" b="1" dirty="0"/>
              <a:t>Components of IT Infrastructure</a:t>
            </a:r>
          </a:p>
          <a:p>
            <a:endParaRPr lang="en-IN" b="1" dirty="0"/>
          </a:p>
          <a:p>
            <a:r>
              <a:rPr lang="en-IN" b="1" dirty="0"/>
              <a:t>1. Hardware</a:t>
            </a:r>
            <a:endParaRPr lang="en-I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1" dirty="0"/>
              <a:t>Servers:</a:t>
            </a:r>
            <a:r>
              <a:rPr lang="en-IN" dirty="0"/>
              <a:t> Centralized machines that host applications and data.</a:t>
            </a:r>
          </a:p>
          <a:p>
            <a:pPr lvl="1"/>
            <a:endParaRPr lang="en-I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dirty="0"/>
              <a:t>Storage Devices: For storing data (e.g., HDDs, SSDs, NAS).</a:t>
            </a:r>
          </a:p>
          <a:p>
            <a:pPr lvl="1"/>
            <a:endParaRPr lang="en-I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dirty="0"/>
              <a:t>Networking Equipment: Routers, switches, firewalls.</a:t>
            </a:r>
          </a:p>
          <a:p>
            <a:pPr lvl="1"/>
            <a:endParaRPr lang="en-I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dirty="0"/>
              <a:t>Workstations and End Devices: Computers, tablets, smartphone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5253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517DC83-59F0-8B06-BE9B-C582329897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133" y="207027"/>
            <a:ext cx="11260279" cy="5848540"/>
          </a:xfrm>
        </p:spPr>
        <p:txBody>
          <a:bodyPr>
            <a:normAutofit lnSpcReduction="10000"/>
          </a:bodyPr>
          <a:lstStyle/>
          <a:p>
            <a:endParaRPr lang="en-US" b="1" dirty="0"/>
          </a:p>
          <a:p>
            <a:r>
              <a:rPr lang="en-US" b="1" dirty="0">
                <a:solidFill>
                  <a:srgbClr val="0070C0"/>
                </a:solidFill>
              </a:rPr>
              <a:t>Challenge 2: Security Vulnerabilities</a:t>
            </a:r>
          </a:p>
          <a:p>
            <a:endParaRPr lang="en-US" b="1" dirty="0"/>
          </a:p>
          <a:p>
            <a:r>
              <a:rPr lang="en-US" b="1" dirty="0"/>
              <a:t>Description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Threats from cyberattacks, data breaches, and unauthorized acces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ncreasing complexity of security management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Impact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Data loss or theft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Financial loss and damage to reputation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Example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Recent high-profile security breaches and their consequences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7BF04D-04BB-F6D3-442A-222CB5BD8E7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0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798235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D04F76A-E667-B80D-AA73-3C1EE7F938F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5860" y="374038"/>
            <a:ext cx="11260279" cy="5662868"/>
          </a:xfrm>
        </p:spPr>
        <p:txBody>
          <a:bodyPr/>
          <a:lstStyle/>
          <a:p>
            <a:endParaRPr lang="en-US" b="1" dirty="0"/>
          </a:p>
          <a:p>
            <a:r>
              <a:rPr lang="en-US" b="1" dirty="0">
                <a:solidFill>
                  <a:srgbClr val="0070C0"/>
                </a:solidFill>
              </a:rPr>
              <a:t>Addressing Security Vulnerabilities</a:t>
            </a:r>
          </a:p>
          <a:p>
            <a:endParaRPr lang="en-US" b="1" dirty="0"/>
          </a:p>
          <a:p>
            <a:r>
              <a:rPr lang="en-US" b="1" dirty="0"/>
              <a:t>Strategie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Firewalls and Intrusion Detection Systems (IDS)</a:t>
            </a:r>
            <a:r>
              <a:rPr lang="en-US" dirty="0"/>
              <a:t>: Protecting network perimeter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Encryption</a:t>
            </a:r>
            <a:r>
              <a:rPr lang="en-US" dirty="0"/>
              <a:t>: Ensuring data is secure both in transit and at rest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Regular Audits and Updates</a:t>
            </a:r>
            <a:r>
              <a:rPr lang="en-US" dirty="0"/>
              <a:t>: Keeping systems updated and reviewing security policie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Best Practice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mplementing a comprehensive security policy and regular employee training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CF685F-C2DF-9414-F110-1370C0E22CB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889229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A4427D2-7EF4-DCF7-BAC0-D42442A86F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133" y="420691"/>
            <a:ext cx="11260279" cy="5541570"/>
          </a:xfrm>
        </p:spPr>
        <p:txBody>
          <a:bodyPr>
            <a:normAutofit lnSpcReduction="10000"/>
          </a:bodyPr>
          <a:lstStyle/>
          <a:p>
            <a:endParaRPr lang="en-US" b="1" dirty="0"/>
          </a:p>
          <a:p>
            <a:r>
              <a:rPr lang="en-US" b="1" dirty="0">
                <a:solidFill>
                  <a:srgbClr val="0070C0"/>
                </a:solidFill>
              </a:rPr>
              <a:t>Challenge 3: Downtime and Reliability</a:t>
            </a:r>
          </a:p>
          <a:p>
            <a:endParaRPr lang="en-US" b="1" dirty="0"/>
          </a:p>
          <a:p>
            <a:r>
              <a:rPr lang="en-US" b="1" dirty="0"/>
              <a:t>Description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Risk of system outages and service interruption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mpact on business operations and customer satisfaction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Impact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Loss of productivity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otential revenue loss and customer dissatisfaction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Example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Examples of major outages and their effects on businesses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DA9472-1D92-A891-F86D-86E9B28547E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246505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086ADF9-A091-6363-9920-C7CF1A4790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133" y="513997"/>
            <a:ext cx="11260279" cy="5448264"/>
          </a:xfrm>
        </p:spPr>
        <p:txBody>
          <a:bodyPr/>
          <a:lstStyle/>
          <a:p>
            <a:endParaRPr lang="en-US" b="1" dirty="0"/>
          </a:p>
          <a:p>
            <a:r>
              <a:rPr lang="en-US" b="1" dirty="0">
                <a:solidFill>
                  <a:srgbClr val="0070C0"/>
                </a:solidFill>
              </a:rPr>
              <a:t>Addressing Downtime and Reliability</a:t>
            </a:r>
          </a:p>
          <a:p>
            <a:endParaRPr lang="en-US" b="1" dirty="0"/>
          </a:p>
          <a:p>
            <a:r>
              <a:rPr lang="en-US" b="1" dirty="0"/>
              <a:t>Strategie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Redundancy</a:t>
            </a:r>
            <a:r>
              <a:rPr lang="en-US" dirty="0"/>
              <a:t>: Using redundant systems and failover solutions to ensure continuity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Disaster Recovery Plans</a:t>
            </a:r>
            <a:r>
              <a:rPr lang="en-US" dirty="0"/>
              <a:t>: Developing and testing recovery procedur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High Availability Architectures</a:t>
            </a:r>
            <a:r>
              <a:rPr lang="en-US" dirty="0"/>
              <a:t>: Implementing solutions to minimize downtime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Best Practice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Regular testing of disaster recovery plans and maintaining redundant systems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DB2097-8A33-5189-7618-87930D7764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4586272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54411A6-54F7-4E25-D6D7-DA9D89E750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439" y="458014"/>
            <a:ext cx="11260279" cy="5131023"/>
          </a:xfrm>
        </p:spPr>
        <p:txBody>
          <a:bodyPr>
            <a:normAutofit fontScale="92500" lnSpcReduction="20000"/>
          </a:bodyPr>
          <a:lstStyle/>
          <a:p>
            <a:endParaRPr lang="en-US" b="1" dirty="0"/>
          </a:p>
          <a:p>
            <a:r>
              <a:rPr lang="en-US" b="1" dirty="0">
                <a:solidFill>
                  <a:srgbClr val="0070C0"/>
                </a:solidFill>
              </a:rPr>
              <a:t>Challenge 4: Complexity of Management</a:t>
            </a:r>
          </a:p>
          <a:p>
            <a:endParaRPr lang="en-US" b="1" dirty="0">
              <a:solidFill>
                <a:srgbClr val="0070C0"/>
              </a:solidFill>
            </a:endParaRPr>
          </a:p>
          <a:p>
            <a:r>
              <a:rPr lang="en-US" b="1" dirty="0"/>
              <a:t>Description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anaging diverse and complex IT environment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ntegration of various technologies and system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Impact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ncreased operational cost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Difficulty in troubleshooting and maintaining system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Example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allenges faced by organizations with complex IT environments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BBC588-2FC6-BBE9-744C-4D20571FE42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987019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3A1D99A-A412-4F81-8125-DDAFEE159E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5860" y="392699"/>
            <a:ext cx="11260279" cy="5634877"/>
          </a:xfrm>
        </p:spPr>
        <p:txBody>
          <a:bodyPr/>
          <a:lstStyle/>
          <a:p>
            <a:endParaRPr lang="en-US" b="1" dirty="0"/>
          </a:p>
          <a:p>
            <a:r>
              <a:rPr lang="en-US" b="1" dirty="0">
                <a:solidFill>
                  <a:srgbClr val="0070C0"/>
                </a:solidFill>
              </a:rPr>
              <a:t>Addressing Complexity of Management</a:t>
            </a:r>
          </a:p>
          <a:p>
            <a:endParaRPr lang="en-US" b="1" dirty="0"/>
          </a:p>
          <a:p>
            <a:r>
              <a:rPr lang="en-US" b="1" dirty="0"/>
              <a:t>Strategie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Automation</a:t>
            </a:r>
            <a:r>
              <a:rPr lang="en-US" dirty="0"/>
              <a:t>: Utilizing tools for automated management and monitoring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Unified Management Platforms</a:t>
            </a:r>
            <a:r>
              <a:rPr lang="en-US" dirty="0"/>
              <a:t>: Integrating management tools for streamlined operation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Training and Skill Development</a:t>
            </a:r>
            <a:r>
              <a:rPr lang="en-US" dirty="0"/>
              <a:t>: Ensuring IT staff are skilled in managing complex system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Best Practice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Leveraging modern management tools and investing in staff training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F6BD98-70DC-E902-C9B9-8E4EDD58DAD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9716570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3794EC9-5ED5-C00B-556A-BE7E77BAAF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133" y="458013"/>
            <a:ext cx="11260279" cy="5550901"/>
          </a:xfrm>
        </p:spPr>
        <p:txBody>
          <a:bodyPr/>
          <a:lstStyle/>
          <a:p>
            <a:endParaRPr lang="en-US" b="1" dirty="0"/>
          </a:p>
          <a:p>
            <a:r>
              <a:rPr lang="en-US" b="1" dirty="0">
                <a:solidFill>
                  <a:srgbClr val="0070C0"/>
                </a:solidFill>
              </a:rPr>
              <a:t>Infrastructure Resilience</a:t>
            </a:r>
          </a:p>
          <a:p>
            <a:endParaRPr lang="en-US" b="1" dirty="0"/>
          </a:p>
          <a:p>
            <a:r>
              <a:rPr lang="en-US" b="1" dirty="0"/>
              <a:t>Definition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The ability of an IT infrastructure to withstand and recover from disruption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Importance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Ensures continuity of services and operation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Enhances the organization's ability to adapt to changing conditions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B49BF7-BD34-1714-1E08-12A5969939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4333511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1115960-FBE2-0CAA-AA23-A84A4EB72E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133" y="411360"/>
            <a:ext cx="11260279" cy="5569562"/>
          </a:xfrm>
        </p:spPr>
        <p:txBody>
          <a:bodyPr/>
          <a:lstStyle/>
          <a:p>
            <a:endParaRPr lang="en-US" b="1" dirty="0"/>
          </a:p>
          <a:p>
            <a:r>
              <a:rPr lang="en-US" b="1" dirty="0">
                <a:solidFill>
                  <a:srgbClr val="0070C0"/>
                </a:solidFill>
              </a:rPr>
              <a:t>Building Infrastructure Resilience</a:t>
            </a:r>
          </a:p>
          <a:p>
            <a:endParaRPr lang="en-US" b="1" dirty="0"/>
          </a:p>
          <a:p>
            <a:r>
              <a:rPr lang="en-US" b="1" dirty="0"/>
              <a:t>Strategie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Redundancy and Fault Tolerance</a:t>
            </a:r>
            <a:r>
              <a:rPr lang="en-US" dirty="0"/>
              <a:t>: Implementing backup systems and failover mechanism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Regular Testing and Maintenance</a:t>
            </a:r>
            <a:r>
              <a:rPr lang="en-US" dirty="0"/>
              <a:t>: Conducting drills and maintenance to ensure preparednes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Monitoring and Analytics</a:t>
            </a:r>
            <a:r>
              <a:rPr lang="en-US" dirty="0"/>
              <a:t>: Using tools to monitor system health and predict potential issue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Example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How organizations have successfully built resilient infrastructure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612777-22EE-91E0-D714-FA49D929BFF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7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0129716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0068639-DAEF-4534-B232-8D158F04ED1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78F59F-7F70-4D93-A9B7-BB930F8F360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388100"/>
            <a:ext cx="369888" cy="263525"/>
          </a:xfrm>
        </p:spPr>
        <p:txBody>
          <a:bodyPr/>
          <a:lstStyle/>
          <a:p>
            <a:fld id="{0879F475-59B1-4993-848A-C2B683DE9AF5}" type="slidenum">
              <a:rPr lang="en-IN" smtClean="0"/>
              <a:pPr/>
              <a:t>28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914089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EC9EC2-4497-1B04-AFFF-3C9BE4A4AA4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</a:t>
            </a:fld>
            <a:endParaRPr lang="en-IN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4FAC723C-AD6D-B0D8-5CA3-FD64FDB18A8C}"/>
              </a:ext>
            </a:extLst>
          </p:cNvPr>
          <p:cNvSpPr>
            <a:spLocks noGrp="1" noChangeArrowheads="1"/>
          </p:cNvSpPr>
          <p:nvPr>
            <p:ph type="body" sz="quarter" idx="14"/>
          </p:nvPr>
        </p:nvSpPr>
        <p:spPr bwMode="auto">
          <a:xfrm>
            <a:off x="465137" y="975928"/>
            <a:ext cx="10125108" cy="59093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2. Softwar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Operating Systems: Platforms like Windows Server, Linux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Virtualization Software: VMware, Hyper-V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Management Tools: For monitoring and managing infrastructur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3. Networking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LAN/WAN: Local Area Network and Wide Area Network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ternet Connectivity: ISPs, fiber optic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Network Protocols: TCP/IP, HTTP/HTTP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4. Data Center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Facilities that house IT infrastructure component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esign considerations: Cooling, power supply, security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55448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534ABC4-CE82-C935-9D17-05462092A2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8065" y="411361"/>
            <a:ext cx="11260279" cy="5877472"/>
          </a:xfrm>
        </p:spPr>
        <p:txBody>
          <a:bodyPr>
            <a:normAutofit lnSpcReduction="10000"/>
          </a:bodyPr>
          <a:lstStyle/>
          <a:p>
            <a:r>
              <a:rPr lang="en-US" sz="2400" b="1" dirty="0">
                <a:solidFill>
                  <a:srgbClr val="0070C0"/>
                </a:solidFill>
              </a:rPr>
              <a:t>Types of IT Infrastructure</a:t>
            </a:r>
          </a:p>
          <a:p>
            <a:endParaRPr lang="en-US" sz="2400" b="1" dirty="0">
              <a:solidFill>
                <a:srgbClr val="0070C0"/>
              </a:solidFill>
            </a:endParaRPr>
          </a:p>
          <a:p>
            <a:pPr marL="457200" indent="-457200">
              <a:buAutoNum type="arabicPeriod"/>
            </a:pPr>
            <a:r>
              <a:rPr lang="en-US" b="1" dirty="0"/>
              <a:t>On-Premises Infrastructure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anaged within the organization’s own faciliti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dvantages: Control and customization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Disadvantages: High capital expenditure, maintenance.</a:t>
            </a:r>
          </a:p>
          <a:p>
            <a:r>
              <a:rPr lang="en-US" b="1" dirty="0"/>
              <a:t>2. Cloud Infrastructure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Hosted off-site by cloud service providers (e.g., AWS, Azure, Google Cloud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dvantages: Scalability, cost-efficiency, and flexibility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Disadvantages: Dependence on service providers, data security concerns.</a:t>
            </a:r>
          </a:p>
          <a:p>
            <a:r>
              <a:rPr lang="en-US" b="1" dirty="0"/>
              <a:t>3. Hybrid Infrastructure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ombination of on-premises and cloud resourc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dvantages: Flexibility and optimization of resourc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Disadvantages: Complexity in management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25F896-26C8-CD32-60B1-565F385E18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305574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85AF0D9-9E8B-7F27-8B93-AEA6633456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9720" y="290063"/>
            <a:ext cx="11260279" cy="5952117"/>
          </a:xfrm>
        </p:spPr>
        <p:txBody>
          <a:bodyPr/>
          <a:lstStyle/>
          <a:p>
            <a:r>
              <a:rPr lang="en-IN" b="1" dirty="0">
                <a:solidFill>
                  <a:srgbClr val="0070C0"/>
                </a:solidFill>
              </a:rPr>
              <a:t>Virtualization and Cloud Computing</a:t>
            </a:r>
          </a:p>
          <a:p>
            <a:endParaRPr lang="en-IN" b="1" dirty="0"/>
          </a:p>
          <a:p>
            <a:r>
              <a:rPr lang="en-IN" b="1" dirty="0"/>
              <a:t>Virtualization</a:t>
            </a:r>
          </a:p>
          <a:p>
            <a:endParaRPr lang="en-I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dirty="0"/>
              <a:t>Definition: Creating virtual versions of physical resources (e.g., virtual machines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dirty="0"/>
              <a:t>Benefits: Improved resource utilization, isolation, and scalability.</a:t>
            </a:r>
          </a:p>
          <a:p>
            <a:r>
              <a:rPr lang="en-IN" b="1" dirty="0"/>
              <a:t>Cloud Computing</a:t>
            </a:r>
          </a:p>
          <a:p>
            <a:endParaRPr lang="en-I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dirty="0"/>
              <a:t>Definition: Delivery of computing services over the internet.</a:t>
            </a:r>
          </a:p>
          <a:p>
            <a:pPr marL="457200" lvl="1" indent="0">
              <a:buNone/>
            </a:pPr>
            <a:endParaRPr lang="en-I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dirty="0"/>
              <a:t>Service Models: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IN" dirty="0"/>
              <a:t>IaaS (Infrastructure as a Service)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IN" dirty="0"/>
              <a:t>PaaS (Platform as a Service)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IN" dirty="0"/>
              <a:t>SaaS (Software as a Service)</a:t>
            </a:r>
          </a:p>
          <a:p>
            <a:pPr marL="914400" lvl="2" indent="0">
              <a:buNone/>
            </a:pPr>
            <a:endParaRPr lang="en-I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dirty="0"/>
              <a:t>Deployment Models: Public, Private, Hybrid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5A86DF-8A50-4225-79C4-0F8AA6C3371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875492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92E014F-BA8D-A0B5-F9BF-45C3163996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5860" y="207027"/>
            <a:ext cx="11260279" cy="6044483"/>
          </a:xfrm>
        </p:spPr>
        <p:txBody>
          <a:bodyPr/>
          <a:lstStyle/>
          <a:p>
            <a:r>
              <a:rPr lang="en-US" b="1" dirty="0">
                <a:solidFill>
                  <a:srgbClr val="0070C0"/>
                </a:solidFill>
              </a:rPr>
              <a:t>Key IT Infrastructure Management Practices</a:t>
            </a:r>
          </a:p>
          <a:p>
            <a:endParaRPr lang="en-US" b="1" dirty="0"/>
          </a:p>
          <a:p>
            <a:r>
              <a:rPr lang="en-US" b="1" dirty="0"/>
              <a:t>1. Monitoring and Management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Tools and platforms for tracking performance and health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Examples: Nagios, SolarWinds, Datadog.</a:t>
            </a:r>
          </a:p>
          <a:p>
            <a:r>
              <a:rPr lang="en-US" b="1" dirty="0"/>
              <a:t>2. Security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Essential practices: Firewalls, encryption, intrusion detection system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olicies: Access control, data protection.</a:t>
            </a:r>
          </a:p>
          <a:p>
            <a:r>
              <a:rPr lang="en-US" b="1" dirty="0"/>
              <a:t>3. Backup and Recovery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mportance of regular backups and disaster recovery plan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Tools and strategies: On-site backups, cloud backups.</a:t>
            </a:r>
          </a:p>
          <a:p>
            <a:r>
              <a:rPr lang="en-US" b="1" dirty="0"/>
              <a:t>4. Scalability and Performance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Ensuring infrastructure can grow with demand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Load balancing, resource allocation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E1CCA2-0360-E0D0-E34B-D6772BA54F2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219511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87B17F4-B3F6-3204-7079-784A9ED33B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381" y="207027"/>
            <a:ext cx="11260279" cy="6025822"/>
          </a:xfrm>
        </p:spPr>
        <p:txBody>
          <a:bodyPr>
            <a:normAutofit lnSpcReduction="10000"/>
          </a:bodyPr>
          <a:lstStyle/>
          <a:p>
            <a:r>
              <a:rPr lang="en-US" b="1" dirty="0">
                <a:solidFill>
                  <a:srgbClr val="0070C0"/>
                </a:solidFill>
              </a:rPr>
              <a:t>Emerging Trends in IT Infrastructure</a:t>
            </a:r>
          </a:p>
          <a:p>
            <a:endParaRPr lang="en-US" b="1" dirty="0"/>
          </a:p>
          <a:p>
            <a:r>
              <a:rPr lang="en-US" b="1" dirty="0"/>
              <a:t>1. Edge Computing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rocessing data closer to the source to reduce latency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2. AI and Machine Learning Integration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Enhancing infrastructure management through automation and analytic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3. Internet of Things (IoT)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ntegrating connected devices into IT infrastructur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4. Green IT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Focus on reducing environmental impact through energy-efficient practices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631F8A-DFD9-FF86-FC2F-2ED5469FCC5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848413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06E5108-C35E-7AF5-EA21-786E092137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5860" y="207027"/>
            <a:ext cx="11260279" cy="6016491"/>
          </a:xfrm>
        </p:spPr>
        <p:txBody>
          <a:bodyPr>
            <a:normAutofit lnSpcReduction="10000"/>
          </a:bodyPr>
          <a:lstStyle/>
          <a:p>
            <a:r>
              <a:rPr lang="en-US" b="1" dirty="0">
                <a:solidFill>
                  <a:srgbClr val="0070C0"/>
                </a:solidFill>
              </a:rPr>
              <a:t>Challenges and Considerations</a:t>
            </a:r>
          </a:p>
          <a:p>
            <a:endParaRPr lang="en-US" b="1" dirty="0"/>
          </a:p>
          <a:p>
            <a:pPr marL="457200" indent="-457200">
              <a:buAutoNum type="arabicPeriod"/>
            </a:pPr>
            <a:r>
              <a:rPr lang="en-US" b="1" dirty="0"/>
              <a:t>Cost Management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Balancing cost and performance in both on-premises and cloud environment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2. Data Security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ddressing threats and ensuring compliance with regulations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3. Skill Requirement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Need for skilled personnel to manage and operate infrastructure.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4. Vendor Management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anaging relationships with hardware and service providers.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9A4ECD-BE2F-DE68-8FAB-D2694FBF9D7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360558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7EAF3A1-42BF-9F2C-1BD7-CF2F410A0B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3656786"/>
          </a:xfrm>
        </p:spPr>
        <p:txBody>
          <a:bodyPr/>
          <a:lstStyle/>
          <a:p>
            <a:r>
              <a:rPr lang="en-US" b="1" dirty="0"/>
              <a:t>Introduction</a:t>
            </a:r>
          </a:p>
          <a:p>
            <a:endParaRPr lang="en-US" b="1" dirty="0"/>
          </a:p>
          <a:p>
            <a:r>
              <a:rPr lang="en-US" b="1" dirty="0"/>
              <a:t>Overview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Definition of Traditional Infrastructure</a:t>
            </a:r>
          </a:p>
          <a:p>
            <a:pPr marL="457200" lvl="1" indent="0">
              <a:buNone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Definition of Cloud Infrastructure</a:t>
            </a:r>
          </a:p>
          <a:p>
            <a:pPr marL="457200" lvl="1" indent="0">
              <a:buNone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mportance of Understanding the Differences</a:t>
            </a:r>
          </a:p>
          <a:p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C4C9F07-58FE-4455-F134-82B97292A7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solidFill>
                  <a:srgbClr val="0070C0"/>
                </a:solidFill>
                <a:effectLst/>
              </a:rPr>
              <a:t>Cloud vs. Traditional Infrastructu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917A4A-37F3-4DCF-19FE-702D6711420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257787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2DD39DAD7772647B41C8FE861EEA391" ma:contentTypeVersion="15" ma:contentTypeDescription="Create a new document." ma:contentTypeScope="" ma:versionID="8360c95a2f62bf75c1caa6825518678e">
  <xsd:schema xmlns:xsd="http://www.w3.org/2001/XMLSchema" xmlns:xs="http://www.w3.org/2001/XMLSchema" xmlns:p="http://schemas.microsoft.com/office/2006/metadata/properties" xmlns:ns3="68319706-930a-435e-b76e-f1bb4b3746a4" xmlns:ns4="98c4397e-77a1-4be1-bada-f3fa4bdd655c" targetNamespace="http://schemas.microsoft.com/office/2006/metadata/properties" ma:root="true" ma:fieldsID="84775e9745987ca7bb9d40a825b219ad" ns3:_="" ns4:_="">
    <xsd:import namespace="68319706-930a-435e-b76e-f1bb4b3746a4"/>
    <xsd:import namespace="98c4397e-77a1-4be1-bada-f3fa4bdd655c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LengthInSeconds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_activity" minOccurs="0"/>
                <xsd:element ref="ns4:MediaServiceObjectDetectorVersions" minOccurs="0"/>
                <xsd:element ref="ns4:MediaServiceSystemTags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319706-930a-435e-b76e-f1bb4b3746a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c4397e-77a1-4be1-bada-f3fa4bdd655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internalName="MediaServiceDateTaken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_activity" ma:index="19" nillable="true" ma:displayName="_activity" ma:hidden="true" ma:internalName="_activity">
      <xsd:simpleType>
        <xsd:restriction base="dms:Note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1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98c4397e-77a1-4be1-bada-f3fa4bdd655c" xsi:nil="true"/>
  </documentManagement>
</p:properties>
</file>

<file path=customXml/itemProps1.xml><?xml version="1.0" encoding="utf-8"?>
<ds:datastoreItem xmlns:ds="http://schemas.openxmlformats.org/officeDocument/2006/customXml" ds:itemID="{D21205A4-BB8A-4316-BDD9-077E49E5642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319706-930a-435e-b76e-f1bb4b3746a4"/>
    <ds:schemaRef ds:uri="98c4397e-77a1-4be1-bada-f3fa4bdd655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7500125-760C-4DA8-83C8-ACF4A641C9D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8CC0D78-2BF2-438E-9FC7-FFC8AB5E6204}">
  <ds:schemaRefs>
    <ds:schemaRef ds:uri="http://purl.org/dc/elements/1.1/"/>
    <ds:schemaRef ds:uri="68319706-930a-435e-b76e-f1bb4b3746a4"/>
    <ds:schemaRef ds:uri="98c4397e-77a1-4be1-bada-f3fa4bdd655c"/>
    <ds:schemaRef ds:uri="http://www.w3.org/XML/1998/namespace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71</TotalTime>
  <Words>1556</Words>
  <Application>Microsoft Office PowerPoint</Application>
  <PresentationFormat>Widescreen</PresentationFormat>
  <Paragraphs>404</Paragraphs>
  <Slides>2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2" baseType="lpstr">
      <vt:lpstr>Arial</vt:lpstr>
      <vt:lpstr>Barlow</vt:lpstr>
      <vt:lpstr>1_Office Theme</vt:lpstr>
      <vt:lpstr>think-cell Slide</vt:lpstr>
      <vt:lpstr>PowerPoint Presentation</vt:lpstr>
      <vt:lpstr>1.Introduction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loud vs. Traditional Infrastructur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T Infrastructure Challenges and Resilien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ornima Sivakumar [UNext]</dc:creator>
  <cp:lastModifiedBy>Yamarapu David Prabhakar</cp:lastModifiedBy>
  <cp:revision>32</cp:revision>
  <dcterms:created xsi:type="dcterms:W3CDTF">2023-04-07T11:31:48Z</dcterms:created>
  <dcterms:modified xsi:type="dcterms:W3CDTF">2024-07-30T08:54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2DD39DAD7772647B41C8FE861EEA391</vt:lpwstr>
  </property>
</Properties>
</file>